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4" r:id="rId2"/>
  </p:sldMasterIdLst>
  <p:notesMasterIdLst>
    <p:notesMasterId r:id="rId8"/>
  </p:notesMasterIdLst>
  <p:sldIdLst>
    <p:sldId id="3637" r:id="rId3"/>
    <p:sldId id="3651" r:id="rId4"/>
    <p:sldId id="3650" r:id="rId5"/>
    <p:sldId id="3652" r:id="rId6"/>
    <p:sldId id="3618" r:id="rId7"/>
  </p:sldIdLst>
  <p:sldSz cx="12192000" cy="6858000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 userDrawn="1">
          <p15:clr>
            <a:srgbClr val="A4A3A4"/>
          </p15:clr>
        </p15:guide>
        <p15:guide id="2" pos="2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377"/>
    <a:srgbClr val="C09651"/>
    <a:srgbClr val="004176"/>
    <a:srgbClr val="F29B27"/>
    <a:srgbClr val="314C5D"/>
    <a:srgbClr val="036280"/>
    <a:srgbClr val="869927"/>
    <a:srgbClr val="7B8C24"/>
    <a:srgbClr val="6C7B1F"/>
    <a:srgbClr val="5763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96370" autoAdjust="0"/>
  </p:normalViewPr>
  <p:slideViewPr>
    <p:cSldViewPr snapToGrid="0">
      <p:cViewPr varScale="1">
        <p:scale>
          <a:sx n="106" d="100"/>
          <a:sy n="106" d="100"/>
        </p:scale>
        <p:origin x="768" y="114"/>
      </p:cViewPr>
      <p:guideLst>
        <p:guide orient="horz" pos="4020"/>
        <p:guide pos="2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1800" cy="49909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5" y="1"/>
            <a:ext cx="2971800" cy="49909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7FC4CF7F-D4A4-41A1-B089-2E5C427F9451}" type="datetimeFigureOut">
              <a:rPr lang="ru-RU" smtClean="0"/>
              <a:t>22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1325" y="1241425"/>
            <a:ext cx="5975350" cy="33607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87126"/>
            <a:ext cx="5486400" cy="3916740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8185"/>
            <a:ext cx="2971800" cy="49909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5" y="9448185"/>
            <a:ext cx="2971800" cy="499090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7159715A-9E79-47C9-9085-7066746879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38039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F07D11-8C87-486B-A3AC-67B1CFFB05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ED3C3A5-8C6E-45F7-BDD1-3555A4C773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203A299-6DE1-4C10-B446-15EEDEC0E1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141E8B-1445-4C4C-84CB-B081C83B0F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85538EF-BD1E-4182-BF61-8C98EC5560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6299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2AE8CA-98B4-4DDB-AEC0-6F3359A17E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9C0ECA8-0FF5-4242-816F-92E6E647AC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32C301B-1DDB-472D-8241-52A74ACE94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BF8B12C-6F29-4D57-A9BC-2AF59D852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A91A728-F42B-4CFF-B28F-E4FB981A6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37568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6FD58C7-F0E3-46D0-840D-B51270D365E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4970537-32C8-4353-A205-B27161A1F9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E15F540-0F3A-46BC-AA87-A31C55789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F56E7CB-EE48-460E-9B37-E42589C28F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A769E44-4D73-4957-B2B4-76C385A6E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5425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454" y="2184400"/>
            <a:ext cx="2545094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454" y="2184400"/>
            <a:ext cx="2545094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4370" y="141289"/>
            <a:ext cx="951037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336595" y="684213"/>
            <a:ext cx="11518812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336595" y="6567488"/>
            <a:ext cx="11518812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7"/>
          <p:cNvSpPr txBox="1">
            <a:spLocks noChangeArrowheads="1"/>
          </p:cNvSpPr>
          <p:nvPr userDrawn="1"/>
        </p:nvSpPr>
        <p:spPr bwMode="auto">
          <a:xfrm>
            <a:off x="11298121" y="6567488"/>
            <a:ext cx="65254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6DC0A62F-59DA-4B7C-A2DC-76EB9C4D04BF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950215" y="6567489"/>
            <a:ext cx="4291572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17" name="Заголовок 6"/>
          <p:cNvSpPr>
            <a:spLocks noGrp="1"/>
          </p:cNvSpPr>
          <p:nvPr>
            <p:ph type="title"/>
          </p:nvPr>
        </p:nvSpPr>
        <p:spPr>
          <a:xfrm>
            <a:off x="336000" y="140594"/>
            <a:ext cx="10179600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50502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9"/>
          <p:cNvSpPr txBox="1">
            <a:spLocks noGrp="1"/>
          </p:cNvSpPr>
          <p:nvPr>
            <p:ph type="title"/>
          </p:nvPr>
        </p:nvSpPr>
        <p:spPr>
          <a:xfrm>
            <a:off x="1451041" y="1045975"/>
            <a:ext cx="9290000" cy="28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4E4D"/>
              </a:buClr>
              <a:buSzPts val="800"/>
              <a:buFont typeface="Arsenal"/>
              <a:buNone/>
              <a:defRPr sz="1600" b="1" i="0">
                <a:solidFill>
                  <a:srgbClr val="4E4E4D"/>
                </a:solidFill>
                <a:latin typeface="Arsenal"/>
                <a:ea typeface="Arsenal"/>
                <a:cs typeface="Arsenal"/>
                <a:sym typeface="Arsen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9"/>
          <p:cNvSpPr txBox="1">
            <a:spLocks noGrp="1"/>
          </p:cNvSpPr>
          <p:nvPr>
            <p:ph type="body" idx="1"/>
          </p:nvPr>
        </p:nvSpPr>
        <p:spPr>
          <a:xfrm>
            <a:off x="684188" y="1235527"/>
            <a:ext cx="10616800" cy="39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ECEC"/>
              </a:buClr>
              <a:buSzPts val="800"/>
              <a:buNone/>
              <a:defRPr sz="23599" b="0" i="0">
                <a:solidFill>
                  <a:srgbClr val="ECECEC"/>
                </a:solidFill>
                <a:latin typeface="Arsenal"/>
                <a:ea typeface="Arsenal"/>
                <a:cs typeface="Arsenal"/>
                <a:sym typeface="Arsenal"/>
              </a:defRPr>
            </a:lvl1pPr>
            <a:lvl2pPr marL="1219170" lvl="1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/>
            </a:lvl2pPr>
            <a:lvl3pPr marL="1828754" lvl="2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/>
            </a:lvl3pPr>
            <a:lvl4pPr marL="2438339" lvl="3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/>
            </a:lvl4pPr>
            <a:lvl5pPr marL="3047924" lvl="4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/>
            </a:lvl5pPr>
            <a:lvl6pPr marL="3657509" lvl="5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/>
            </a:lvl6pPr>
            <a:lvl7pPr marL="4267093" lvl="6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/>
            </a:lvl7pPr>
            <a:lvl8pPr marL="4876678" lvl="7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/>
            </a:lvl8pPr>
            <a:lvl9pPr marL="5486263" lvl="8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29"/>
          <p:cNvSpPr txBox="1">
            <a:spLocks noGrp="1"/>
          </p:cNvSpPr>
          <p:nvPr>
            <p:ph type="ftr" idx="11"/>
          </p:nvPr>
        </p:nvSpPr>
        <p:spPr>
          <a:xfrm>
            <a:off x="4145280" y="6377940"/>
            <a:ext cx="3901600" cy="3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800"/>
              <a:buFont typeface="Calibri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29"/>
          <p:cNvSpPr txBox="1">
            <a:spLocks noGrp="1"/>
          </p:cNvSpPr>
          <p:nvPr>
            <p:ph type="dt" idx="10"/>
          </p:nvPr>
        </p:nvSpPr>
        <p:spPr>
          <a:xfrm>
            <a:off x="609600" y="6377940"/>
            <a:ext cx="2804000" cy="3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800"/>
              <a:buFont typeface="Calibri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29"/>
          <p:cNvSpPr txBox="1">
            <a:spLocks noGrp="1"/>
          </p:cNvSpPr>
          <p:nvPr>
            <p:ph type="sldNum" idx="12"/>
          </p:nvPr>
        </p:nvSpPr>
        <p:spPr>
          <a:xfrm>
            <a:off x="9271727" y="6377940"/>
            <a:ext cx="2804000" cy="3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Calibri"/>
              <a:buNone/>
              <a:defRPr sz="1867" b="0" i="0" u="none" strike="noStrike" cap="none">
                <a:solidFill>
                  <a:srgbClr val="888888"/>
                </a:solidFill>
                <a:latin typeface="Arial Narrow" panose="020B0606020202030204" pitchFamily="34" charset="0"/>
                <a:ea typeface="Arial Narrow" panose="020B0606020202030204" pitchFamily="34" charset="0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Calibri"/>
              <a:buNone/>
              <a:defRPr sz="13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Calibri"/>
              <a:buNone/>
              <a:defRPr sz="13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Calibri"/>
              <a:buNone/>
              <a:defRPr sz="13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Calibri"/>
              <a:buNone/>
              <a:defRPr sz="13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Calibri"/>
              <a:buNone/>
              <a:defRPr sz="13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Calibri"/>
              <a:buNone/>
              <a:defRPr sz="13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Calibri"/>
              <a:buNone/>
              <a:defRPr sz="13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Calibri"/>
              <a:buNone/>
              <a:defRPr sz="13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390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78213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2" y="2121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2121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7B62F83-DAD8-4103-833A-00B9473F1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400" y="0"/>
            <a:ext cx="11713600" cy="859626"/>
          </a:xfrm>
          <a:prstGeom prst="rect">
            <a:avLst/>
          </a:prstGeom>
        </p:spPr>
        <p:txBody>
          <a:bodyPr anchor="ctr"/>
          <a:lstStyle>
            <a:lvl1pPr>
              <a:defRPr sz="2667" b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FCFD0C1-7D72-42DF-9AD2-655FA9CA7D41}"/>
              </a:ext>
            </a:extLst>
          </p:cNvPr>
          <p:cNvSpPr/>
          <p:nvPr userDrawn="1"/>
        </p:nvSpPr>
        <p:spPr>
          <a:xfrm>
            <a:off x="406400" y="6644640"/>
            <a:ext cx="11785600" cy="213360"/>
          </a:xfrm>
          <a:prstGeom prst="rect">
            <a:avLst/>
          </a:prstGeom>
          <a:solidFill>
            <a:srgbClr val="007F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87" tIns="43543" rIns="87087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7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28E7AED7-A7AD-4353-BE11-B88FF6F55B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  <a:prstGeom prst="rect">
            <a:avLst/>
          </a:prstGeom>
        </p:spPr>
        <p:txBody>
          <a:bodyPr rIns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0C6F1-8618-4CCA-B45E-7B199C8F5830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2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 6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A389D9A-2389-44C2-A84E-C274B5BB62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9262" y="6668685"/>
            <a:ext cx="2037505" cy="16527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2A090A2-3FEF-44B7-9A4D-85E9F186E77F}"/>
              </a:ext>
            </a:extLst>
          </p:cNvPr>
          <p:cNvSpPr/>
          <p:nvPr userDrawn="1"/>
        </p:nvSpPr>
        <p:spPr>
          <a:xfrm>
            <a:off x="406400" y="5"/>
            <a:ext cx="72000" cy="859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40111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D95EFD-A93F-4801-906A-29829A0DB50C}"/>
              </a:ext>
            </a:extLst>
          </p:cNvPr>
          <p:cNvSpPr/>
          <p:nvPr userDrawn="1"/>
        </p:nvSpPr>
        <p:spPr>
          <a:xfrm>
            <a:off x="0" y="6644640"/>
            <a:ext cx="12189138" cy="213360"/>
          </a:xfrm>
          <a:prstGeom prst="rect">
            <a:avLst/>
          </a:prstGeom>
          <a:solidFill>
            <a:srgbClr val="007F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87" tIns="43543" rIns="87087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7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AE1CAFC-8FAA-43E4-90CF-F4B268524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0"/>
            <a:ext cx="12120000" cy="859626"/>
          </a:xfrm>
          <a:prstGeom prst="rect">
            <a:avLst/>
          </a:prstGeom>
        </p:spPr>
        <p:txBody>
          <a:bodyPr anchor="ctr"/>
          <a:lstStyle>
            <a:lvl1pPr>
              <a:defRPr sz="2667" b="1">
                <a:solidFill>
                  <a:srgbClr val="007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35E13FE2-8363-4B32-997E-7AD8F8C0C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646556"/>
            <a:ext cx="1090615" cy="211440"/>
          </a:xfrm>
          <a:prstGeom prst="rect">
            <a:avLst/>
          </a:prstGeom>
        </p:spPr>
        <p:txBody>
          <a:bodyPr rIns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0C6F1-8618-4CCA-B45E-7B199C8F5830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2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 15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DB36E7A-75B2-4AC4-B777-A38EEA2D1EF8}"/>
              </a:ext>
            </a:extLst>
          </p:cNvPr>
          <p:cNvSpPr/>
          <p:nvPr userDrawn="1"/>
        </p:nvSpPr>
        <p:spPr>
          <a:xfrm>
            <a:off x="0" y="5"/>
            <a:ext cx="72000" cy="8596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D33F8B8-E73F-4081-A22B-4A24A2AE75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2" y="6668685"/>
            <a:ext cx="2037505" cy="165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393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86E744-212E-4EAE-B379-A4C9B29F6C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EDE8C38-318C-4B76-85B5-6CC854D537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188802D-5F19-4C63-A504-897AAD2AE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BE76152-8E39-41FD-9B98-0101D12F7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B69495C-80A4-4079-B944-33BCF03CF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3538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78A0D8-2A07-4DB5-8FC5-3D8EDD915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E72D771-A2AF-444D-BA3D-146D514FC0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19DEDA4-C05B-42D0-A9A8-9271A8BA39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B4D3582-8B89-44C8-90E3-B8D7E043C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BE07DF8-D70B-4B89-8424-38EE66BBE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26568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2DA6B5-89D1-432E-9A3F-07CCB1F78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9294E3-351A-4308-991C-B1C2DD6186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E63C224-A2E3-40B0-B6F0-E852DDACB6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C24B66C-97B8-4109-927D-5ADD5F5AD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0B5C958-DE75-49F8-9253-9B81A98A9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FC73424-59CE-42E1-BDB2-47FE26ABF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5175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D01048-29DF-4F8A-AC0A-43D06EACBD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5B19FB6-29B6-486A-9188-F8F1DC4BE1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2DEBA5C-5923-4714-BC48-C69B0ABB64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FE018C2-6DFB-44C5-8B42-0B788F5AA0C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45FC2CA-C112-4661-B729-E041AF6A4F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113F816-E168-47B8-A7C4-04CD81074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27E7577-6645-4D90-BC30-D35474C884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7CEEF41-ECBB-4E1E-B329-1CEA9B141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96222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84E9A1-817A-4D6F-AA61-0BCA2D6F8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DA5B2C1-6970-4664-A7FB-F35C9165A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8967E79-DBC0-4B2D-94B7-76A9A9F1A9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9A737D8-D610-48B1-8469-F3D7706C4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42164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EEE4299-0227-4B06-AF94-A80EA72F17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85F7B95-5F99-4B25-824D-ECD1FFA96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9458E09-A649-431D-BCCC-07CB76185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14787" y="6387880"/>
            <a:ext cx="2743200" cy="365125"/>
          </a:xfrm>
        </p:spPr>
        <p:txBody>
          <a:bodyPr/>
          <a:lstStyle>
            <a:lvl1pPr>
              <a:defRPr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65AD350-22C0-44F8-BD9E-EB69890FCC2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9272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9ACC8B1-1420-4FC5-9A58-E1695A77F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B487BA5-66C4-4C78-AB41-939A090A0E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4041415-8281-4D6B-A341-67F79774AA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D303F6D-95CA-47BC-9E97-CE775DC00D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A639FDA-066C-4EB1-92C5-0EF445D09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035C383-8551-49C8-8242-51AC19A5A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6753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7D0E828-85FE-4126-AD31-A16F2D5419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7E29D5D9-6C65-4A9B-9238-BF9A1616D5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0EBF012-0BEB-4861-9FC9-406725073D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FF83463-2C36-46D1-86D9-4D4D3ED8F4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E2CFA69-933E-480D-B697-F680A46202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E50376C-02E7-4785-9325-7C6827357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99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6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2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1000">
              <a:schemeClr val="bg1"/>
            </a:gs>
            <a:gs pos="0">
              <a:srgbClr val="DEDEDE"/>
            </a:gs>
            <a:gs pos="100000">
              <a:schemeClr val="bg1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946DA13-14D0-4A82-BB2E-7B2C3D4BC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0897679-73A9-4352-9E0E-1683A1EFEB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F7016D-DEA5-4A2F-A493-000674DEF3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C3983D5-D0B1-4FB0-851A-0BDC67E7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D0B2DD0-5DA2-47A8-80A3-CC850369EB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5AD350-22C0-44F8-BD9E-EB69890FCC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8388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2" y="2121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22" y="2121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917599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867" b="0" i="0" u="none" strike="noStrike" cap="none">
          <a:solidFill>
            <a:srgbClr val="000000"/>
          </a:solidFill>
          <a:latin typeface="Calibri" panose="020F0502020204030204" pitchFamily="34" charset="0"/>
          <a:ea typeface="MS Mincho" panose="02020609040205080304" pitchFamily="49" charset="-128"/>
          <a:cs typeface="MoolBoran" panose="020B0100010101010101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E121E73-E521-4F91-1086-514ECC197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pPr/>
              <a:t>1</a:t>
            </a:fld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38BC980-CFF3-7F86-A98D-7293ED6D836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50"/>
          <a:stretch/>
        </p:blipFill>
        <p:spPr>
          <a:xfrm>
            <a:off x="6248400" y="0"/>
            <a:ext cx="5943600" cy="685800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38125" y="2801035"/>
            <a:ext cx="59436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Проблемы формирования компетенций в области охраны труда</a:t>
            </a:r>
            <a:endParaRPr lang="ru-RU" sz="3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124075" y="6414451"/>
            <a:ext cx="27051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г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. Астана, 2023г.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94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1000">
              <a:schemeClr val="bg1"/>
            </a:gs>
            <a:gs pos="11000">
              <a:srgbClr val="DEDEDE"/>
            </a:gs>
            <a:gs pos="100000">
              <a:schemeClr val="bg1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271175" y="4616911"/>
            <a:ext cx="5928182" cy="55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требность предприятий в инженерах по ТБ составила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58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человек (</a:t>
            </a:r>
            <a:r>
              <a:rPr lang="ru-RU" sz="1200" i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2023 год – 65 чел., на 2024 год – 49 чел, на 2025 год – 44 чел.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 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271175" y="5440850"/>
            <a:ext cx="77302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 51,2 тыс.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рошенных респондентов, потребность в кадрах на краткосрочный период имеется у </a:t>
            </a:r>
            <a:r>
              <a:rPr lang="ru-RU" sz="1200" b="1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3 065 предприятий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 составила </a:t>
            </a:r>
            <a:r>
              <a:rPr lang="ru-RU" sz="1200" b="1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34 051 человек.</a:t>
            </a:r>
            <a:endParaRPr lang="ru-RU" sz="1200" b="1" i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97" y="4374150"/>
            <a:ext cx="2120697" cy="2120697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295275" y="3946945"/>
            <a:ext cx="34296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АЛИЗ ПОТРЕБНОСТИ В КАДРАХ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95275" y="299896"/>
            <a:ext cx="53822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АТИСТИКА СУБЪЕКТОВ ПРЕДПРИНИМАТЕЛЬСТВА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95275" y="1299967"/>
            <a:ext cx="74104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остоянию на 1 мая 2023 года </a:t>
            </a:r>
            <a:r>
              <a:rPr lang="ru-RU" sz="12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овано:</a:t>
            </a:r>
          </a:p>
          <a:p>
            <a:r>
              <a:rPr lang="ru-RU" sz="1200" b="1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16 </a:t>
            </a:r>
            <a:r>
              <a:rPr lang="ru-RU" sz="1200" b="1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31 </a:t>
            </a:r>
            <a:r>
              <a:rPr lang="ru-RU" sz="12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ческих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 </a:t>
            </a:r>
            <a:r>
              <a:rPr lang="ru-RU" sz="12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м числе </a:t>
            </a:r>
            <a:r>
              <a:rPr lang="ru-RU" sz="1200" b="1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16 564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их </a:t>
            </a:r>
            <a:r>
              <a:rPr lang="ru-RU" sz="12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sz="1200" i="1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 713 </a:t>
            </a:r>
            <a:r>
              <a:rPr lang="ru-RU" sz="1200" b="1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78</a:t>
            </a:r>
            <a:r>
              <a:rPr lang="ru-RU" sz="12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дивидуальных предпринимателей,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м числе </a:t>
            </a:r>
            <a:r>
              <a:rPr lang="ru-RU" sz="1200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1200" b="1" i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 </a:t>
            </a:r>
            <a:r>
              <a:rPr lang="ru-RU" sz="1200" b="1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15 368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их субъектов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95275" y="855912"/>
            <a:ext cx="82867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ый рост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а зарегистрированных юридических лиц в среднем на 5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275275" y="6233991"/>
            <a:ext cx="59281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озникает </a:t>
            </a:r>
            <a:r>
              <a:rPr lang="ru-RU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опрос, в чем причина низкого </a:t>
            </a:r>
            <a:r>
              <a:rPr lang="ru-RU" sz="14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роса? </a:t>
            </a: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28600" y="2247366"/>
            <a:ext cx="8515350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400" i="1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сутствует информация </a:t>
            </a:r>
            <a:r>
              <a:rPr lang="ru-RU" sz="1400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 количестве работников служб охраны труда и их </a:t>
            </a:r>
            <a:r>
              <a:rPr lang="ru-RU" sz="1400" i="1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валификации</a:t>
            </a:r>
            <a:endParaRPr lang="ru-RU" sz="1400" i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1189" y="607673"/>
            <a:ext cx="2228850" cy="2228850"/>
          </a:xfrm>
          <a:prstGeom prst="rect">
            <a:avLst/>
          </a:prstGeom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228600" y="3419475"/>
            <a:ext cx="11610975" cy="0"/>
          </a:xfrm>
          <a:prstGeom prst="line">
            <a:avLst/>
          </a:prstGeom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496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25196" y="5280918"/>
            <a:ext cx="117623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организациях </a:t>
            </a:r>
            <a:r>
              <a:rPr lang="ru-RU" sz="1400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иПО</a:t>
            </a:r>
            <a:r>
              <a:rPr lang="ru-RU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о специальности «Охрана труда и безопасность технологических процессов» за 2022 год студенты не </a:t>
            </a:r>
            <a:r>
              <a:rPr lang="ru-RU" sz="14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пускались.</a:t>
            </a:r>
            <a:endParaRPr lang="ru-RU" sz="14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29666" y="1186047"/>
            <a:ext cx="7009359" cy="989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готовку квалицированных  кадров ведут только Высшие учебные заведения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7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узов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учает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разовательной программе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Безопасность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изнедеятельности и защита окружающей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реды»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29666" y="433191"/>
            <a:ext cx="658073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ГОТОВКА КАДРОВ В ОРГАНИЗАЦИЯХ ОБРАЗОВАНИЯ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8868" y="1018468"/>
            <a:ext cx="2657757" cy="1484606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4474729" y="2836178"/>
            <a:ext cx="4638675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2 году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пуск составил 651 человек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,5 мес</a:t>
            </a: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en-US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kk-KZ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ремня на п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иск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работы</a:t>
            </a:r>
            <a:endParaRPr lang="ru-RU" sz="1200" b="1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0%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</a:t>
            </a: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ровень трудоустройства</a:t>
            </a:r>
            <a:endParaRPr lang="ru-RU" sz="1200" b="1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9%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табильное трудоустройство</a:t>
            </a:r>
            <a:endParaRPr lang="ru-RU" sz="1200" b="1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50 </a:t>
            </a: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ыс. </a:t>
            </a:r>
            <a:r>
              <a:rPr lang="ru-RU" sz="1200" b="1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г</a:t>
            </a: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дианная ЗП</a:t>
            </a:r>
            <a:endParaRPr lang="ru-RU" sz="1200" b="1" dirty="0" smtClean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77" y="2957847"/>
            <a:ext cx="2552498" cy="1409524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125196" y="5762781"/>
            <a:ext cx="11875972" cy="55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формация по специализированным организациям </a:t>
            </a:r>
            <a:r>
              <a:rPr lang="ru-RU" sz="14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лиц, ответственных за безопасный труд, в рамках требования трудового законодательства </a:t>
            </a:r>
            <a:r>
              <a:rPr lang="ru-RU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икем не </a:t>
            </a:r>
            <a:r>
              <a:rPr lang="ru-RU" sz="1400" b="1" dirty="0" err="1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ониторится</a:t>
            </a:r>
            <a:r>
              <a:rPr lang="ru-RU" sz="1400" b="1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 </a:t>
            </a:r>
            <a:r>
              <a:rPr lang="ru-RU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ует </a:t>
            </a:r>
            <a:r>
              <a:rPr lang="ru-RU" sz="1400" b="1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тистика таких организаций </a:t>
            </a:r>
            <a:r>
              <a:rPr lang="ru-RU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сведения по количеству </a:t>
            </a:r>
            <a:r>
              <a:rPr lang="ru-RU" sz="1400" b="1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ученных им </a:t>
            </a:r>
            <a:r>
              <a:rPr lang="ru-RU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ц.</a:t>
            </a:r>
            <a:endParaRPr lang="ru-RU" sz="1050" dirty="0">
              <a:solidFill>
                <a:schemeClr val="accent2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37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5AD350-22C0-44F8-BD9E-EB69890FCC24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250794" y="1490244"/>
            <a:ext cx="8572500" cy="3418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1950" algn="just">
              <a:lnSpc>
                <a:spcPct val="107000"/>
              </a:lnSpc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ДЛАГАЕМЫЕ МЕРОПРИЯТИЯ</a:t>
            </a:r>
          </a:p>
          <a:p>
            <a:pPr indent="361950" algn="just">
              <a:lnSpc>
                <a:spcPct val="107000"/>
              </a:lnSpc>
              <a:spcAft>
                <a:spcPts val="0"/>
              </a:spcAft>
            </a:pP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специалистам по охране труда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лжны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релироваться с квалификационными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равочниками;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обходимо структурировать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конодательство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целях выстраивания в сфере охраны труда четких и понятных требований к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валификации;  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обходим механизм подтверждения квалификации лиц, занимающих должности в службе безопасности и охране труда, не имеющих профильного образования. Полагаем, что эту проблему решит Закон «О профессиональных квалификациях».</a:t>
            </a:r>
            <a:endParaRPr lang="ru-RU" sz="12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90244"/>
            <a:ext cx="3250794" cy="3250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471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-11906" y="2205038"/>
            <a:ext cx="4654550" cy="2303462"/>
          </a:xfrm>
          <a:prstGeom prst="rect">
            <a:avLst/>
          </a:prstGeom>
          <a:solidFill>
            <a:srgbClr val="00437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867" name="Прямоугольник 6"/>
          <p:cNvSpPr>
            <a:spLocks noChangeArrowheads="1"/>
          </p:cNvSpPr>
          <p:nvPr/>
        </p:nvSpPr>
        <p:spPr bwMode="auto">
          <a:xfrm>
            <a:off x="335757" y="2781300"/>
            <a:ext cx="396081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altLang="ru-RU" dirty="0">
                <a:solidFill>
                  <a:srgbClr val="F2F2F2"/>
                </a:solidFill>
                <a:latin typeface="Century Gothic" panose="020B0502020202020204" pitchFamily="34" charset="0"/>
              </a:rPr>
              <a:t>БЛАГОДАРИМ ЗА ВНИМАНИЕ!</a:t>
            </a:r>
          </a:p>
          <a:p>
            <a:pPr>
              <a:defRPr/>
            </a:pPr>
            <a:endParaRPr lang="ru-RU" altLang="ru-RU" dirty="0">
              <a:solidFill>
                <a:srgbClr val="F2F2F2"/>
              </a:solidFill>
              <a:latin typeface="Century Gothic" panose="020B0502020202020204" pitchFamily="34" charset="0"/>
            </a:endParaRPr>
          </a:p>
          <a:p>
            <a:pPr>
              <a:defRPr/>
            </a:pPr>
            <a:endParaRPr lang="ru-RU" altLang="ru-RU" dirty="0">
              <a:solidFill>
                <a:srgbClr val="F2F2F2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389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CG template">
  <a:themeElements>
    <a:clrScheme name="DCG">
      <a:dk1>
        <a:srgbClr val="000000"/>
      </a:dk1>
      <a:lt1>
        <a:srgbClr val="FFFFFF"/>
      </a:lt1>
      <a:dk2>
        <a:srgbClr val="007F76"/>
      </a:dk2>
      <a:lt2>
        <a:srgbClr val="00646C"/>
      </a:lt2>
      <a:accent1>
        <a:srgbClr val="007F76"/>
      </a:accent1>
      <a:accent2>
        <a:srgbClr val="2868A3"/>
      </a:accent2>
      <a:accent3>
        <a:srgbClr val="8EC6A1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DC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06</TotalTime>
  <Words>319</Words>
  <Application>Microsoft Office PowerPoint</Application>
  <PresentationFormat>Широкоэкранный</PresentationFormat>
  <Paragraphs>33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7" baseType="lpstr">
      <vt:lpstr>Arial</vt:lpstr>
      <vt:lpstr>Arial Narrow</vt:lpstr>
      <vt:lpstr>Arsenal</vt:lpstr>
      <vt:lpstr>Calibri</vt:lpstr>
      <vt:lpstr>Calibri Light</vt:lpstr>
      <vt:lpstr>Century Gothic</vt:lpstr>
      <vt:lpstr>MoolBoran</vt:lpstr>
      <vt:lpstr>MS Mincho</vt:lpstr>
      <vt:lpstr>Times New Roman</vt:lpstr>
      <vt:lpstr>Тема Office</vt:lpstr>
      <vt:lpstr>2_DCG templa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unkar</dc:creator>
  <cp:lastModifiedBy>Коренев Сергей Юрьевич</cp:lastModifiedBy>
  <cp:revision>668</cp:revision>
  <cp:lastPrinted>2023-05-19T05:06:22Z</cp:lastPrinted>
  <dcterms:created xsi:type="dcterms:W3CDTF">2021-04-16T15:47:14Z</dcterms:created>
  <dcterms:modified xsi:type="dcterms:W3CDTF">2023-05-22T09:48:30Z</dcterms:modified>
</cp:coreProperties>
</file>